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5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4" r:id="rId13"/>
    <p:sldId id="273" r:id="rId14"/>
    <p:sldId id="272" r:id="rId15"/>
    <p:sldId id="271" r:id="rId16"/>
    <p:sldId id="275" r:id="rId17"/>
    <p:sldId id="270" r:id="rId18"/>
    <p:sldId id="269" r:id="rId19"/>
    <p:sldId id="268" r:id="rId20"/>
    <p:sldId id="267" r:id="rId21"/>
    <p:sldId id="290" r:id="rId22"/>
    <p:sldId id="289" r:id="rId23"/>
    <p:sldId id="288" r:id="rId24"/>
    <p:sldId id="287" r:id="rId25"/>
    <p:sldId id="286" r:id="rId26"/>
    <p:sldId id="285" r:id="rId27"/>
    <p:sldId id="291" r:id="rId28"/>
    <p:sldId id="292" r:id="rId29"/>
    <p:sldId id="293" r:id="rId30"/>
    <p:sldId id="294" r:id="rId31"/>
    <p:sldId id="295" r:id="rId32"/>
    <p:sldId id="296" r:id="rId33"/>
    <p:sldId id="297" r:id="rId34"/>
    <p:sldId id="284" r:id="rId35"/>
    <p:sldId id="283" r:id="rId36"/>
    <p:sldId id="282" r:id="rId37"/>
    <p:sldId id="281" r:id="rId38"/>
    <p:sldId id="280" r:id="rId39"/>
    <p:sldId id="279" r:id="rId40"/>
    <p:sldId id="278" r:id="rId41"/>
    <p:sldId id="277" r:id="rId42"/>
    <p:sldId id="276" r:id="rId43"/>
    <p:sldId id="304" r:id="rId44"/>
    <p:sldId id="303" r:id="rId45"/>
    <p:sldId id="302" r:id="rId46"/>
    <p:sldId id="301" r:id="rId47"/>
    <p:sldId id="300" r:id="rId48"/>
    <p:sldId id="299" r:id="rId49"/>
    <p:sldId id="298" r:id="rId5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98C278-54A3-4F2D-A7E2-BC13D9FD339B}" type="datetimeFigureOut">
              <a:rPr lang="en-IN" smtClean="0"/>
              <a:t>29-08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1E106-7700-405C-B382-83245C9723D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30837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229A0-5AA9-4528-AA66-3C8D4F46698A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5803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05E03-63EC-42BB-B64B-95089328D0D7}" type="datetime1">
              <a:rPr lang="en-IN" smtClean="0"/>
              <a:t>29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755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DE003-5518-46E9-B699-6CFBECCDC80D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6693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C6EBC-C3C1-4682-9ACD-A6C905B3EA22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2389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120ED-2522-4242-98AD-BC22030D1060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97611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E3C4-F733-4BC8-B6E1-66818C6CFD74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0857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solidFill>
                  <a:schemeClr val="tx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A797-E54F-4607-B1EB-2E6604EE9FF9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6604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D4B03-293A-439B-B469-1F79AB71A351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485313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D87B0-1DA5-43FC-9760-8DB1DDC34C2A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6417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2F6A-978B-434F-A168-69D37C787C02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1256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2C658-8091-43BA-B9D9-F86523027A1C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75442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261A5-5518-4D25-9F0D-F3F377872968}" type="datetime1">
              <a:rPr lang="en-IN" smtClean="0"/>
              <a:t>29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18698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A7952-B0E7-4E68-8C76-41E568C280A8}" type="datetime1">
              <a:rPr lang="en-IN" smtClean="0"/>
              <a:t>29-08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96143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29D20A-433B-4E32-8D94-992051626FED}" type="datetime1">
              <a:rPr lang="en-IN" smtClean="0"/>
              <a:t>29-08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58737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9F75F-34F5-4D2C-A5BF-4530D8FEC94A}" type="datetime1">
              <a:rPr lang="en-IN" smtClean="0"/>
              <a:t>29-08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1517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823F-977A-46C2-B078-12387CB19A02}" type="datetime1">
              <a:rPr lang="en-IN" smtClean="0"/>
              <a:t>29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2902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7AC7E559-6B4A-4CBD-9001-5B04F7ED3C7D}" type="datetime1">
              <a:rPr lang="en-IN" smtClean="0"/>
              <a:t>29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8924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292EEB0B-7D26-43C0-B8EE-2A70E7A8C503}" type="datetime1">
              <a:rPr lang="en-IN" smtClean="0"/>
              <a:t>29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F6D96728-6B24-4E0E-8410-27A2EB582B5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826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accent1"/>
          </a:soli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20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8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6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" Target="slide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7.xml"/><Relationship Id="rId2" Type="http://schemas.openxmlformats.org/officeDocument/2006/relationships/tags" Target="../tags/tag2.xml"/><Relationship Id="rId16" Type="http://schemas.openxmlformats.org/officeDocument/2006/relationships/slide" Target="slide17.xml"/><Relationship Id="rId20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" Target="slide18.xml"/><Relationship Id="rId10" Type="http://schemas.openxmlformats.org/officeDocument/2006/relationships/tags" Target="../tags/tag10.xml"/><Relationship Id="rId19" Type="http://schemas.openxmlformats.org/officeDocument/2006/relationships/slide" Target="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xc33ded/Coursera/tree/main/Applied%20Data%20Science%20Capstone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xc33ded/Coursera/tree/main/Applied%20Data%20Science%20Capstone" TargetMode="Externa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exc33ded/Coursera/tree/main/Applied%20Data%20Science%20Capstone" TargetMode="External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github.com/exc33ded/Coursera/tree/main/Applied%20Data%20Science%20Capstone" TargetMode="External"/><Relationship Id="rId4" Type="http://schemas.openxmlformats.org/officeDocument/2006/relationships/image" Target="../media/image7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xc33ded/Coursera/tree/main/Applied%20Data%20Science%20Capstone" TargetMode="Externa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github.com/exc33ded/Coursera/tree/main/Applied%20Data%20Science%20Capstone" TargetMode="External"/><Relationship Id="rId4" Type="http://schemas.openxmlformats.org/officeDocument/2006/relationships/image" Target="../media/image8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exc33ded/Coursera/tree/main/Applied%20Data%20Science%20Capstone" TargetMode="External"/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78.png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github.com/exc33ded/Coursera/tree/main/Applied%20Data%20Science%20Capstone" TargetMode="External"/><Relationship Id="rId4" Type="http://schemas.openxmlformats.org/officeDocument/2006/relationships/image" Target="../media/image8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xc33ded/Coursera/tree/main/Applied%20Data%20Science%20Capstone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c33ded/Coursera/tree/main/Applied%20Data%20Science%20Capstone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hyperlink" Target="https://github.com/exc33ded/Coursera/tree/main/Applied%20Data%20Science%20Capstone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hyperlink" Target="https://github.com/exc33ded/Coursera/tree/main/Applied%20Data%20Science%20Capston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xc33ded/Coursera/tree/main/Applied%20Data%20Science%20Capstone" TargetMode="Externa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768B3926-91CD-EF81-DFB7-F03C256D31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16528"/>
          <a:stretch>
            <a:fillRect/>
          </a:stretch>
        </p:blipFill>
        <p:spPr>
          <a:xfrm>
            <a:off x="5303838" y="0"/>
            <a:ext cx="6888162" cy="68580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88032A4C-4B28-369C-8568-743BD85D9A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317" y="1970399"/>
            <a:ext cx="10947771" cy="2215991"/>
          </a:xfrm>
        </p:spPr>
        <p:txBody>
          <a:bodyPr/>
          <a:lstStyle/>
          <a:p>
            <a:r>
              <a:rPr lang="en-GB" dirty="0"/>
              <a:t>IBM Data Science Capstone Project</a:t>
            </a:r>
            <a:endParaRPr lang="en-US" dirty="0"/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606F9873-177C-E591-9E11-3B4D08821B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1138773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sz="2400" dirty="0"/>
              <a:t>Space X Falcon 9 Landing Analysis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Mohammed Sari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3144FB-D3AC-2894-48C3-8B6105124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4EFAD8-BAD1-9365-1461-ED34610CD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562898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E488043-5E33-8795-9FB0-A806E7B5B866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xploratory data analysis (eda)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visualization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DBCB4B-F17E-0864-74C7-01CF2F8E7540}"/>
              </a:ext>
            </a:extLst>
          </p:cNvPr>
          <p:cNvSpPr txBox="1">
            <a:spLocks/>
          </p:cNvSpPr>
          <p:nvPr/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A03392-11F3-9F72-B9F7-E56AB6FAE024}"/>
              </a:ext>
            </a:extLst>
          </p:cNvPr>
          <p:cNvSpPr txBox="1">
            <a:spLocks/>
          </p:cNvSpPr>
          <p:nvPr/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light Number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ayload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bit Type and Flight Numb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ayload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AAE7F4-1383-7637-F76C-A8EBB24F27D5}"/>
              </a:ext>
            </a:extLst>
          </p:cNvPr>
          <p:cNvSpPr txBox="1">
            <a:spLocks/>
          </p:cNvSpPr>
          <p:nvPr/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AR CHART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C4C9A9E-65A5-033B-9D27-D27DA6D2BE06}"/>
              </a:ext>
            </a:extLst>
          </p:cNvPr>
          <p:cNvSpPr txBox="1">
            <a:spLocks/>
          </p:cNvSpPr>
          <p:nvPr/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 bar chart was produced to visualize the relationship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ccess Rate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7D28F2-A513-F298-7E10-32AE25D3BCAC}"/>
              </a:ext>
            </a:extLst>
          </p:cNvPr>
          <p:cNvSpPr txBox="1">
            <a:spLocks/>
          </p:cNvSpPr>
          <p:nvPr/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NE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1B8F94D-1D9B-B345-3A85-48E377C4F22F}"/>
              </a:ext>
            </a:extLst>
          </p:cNvPr>
          <p:cNvSpPr txBox="1">
            <a:spLocks/>
          </p:cNvSpPr>
          <p:nvPr/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ne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ccess Rate and Year (i.e. the launch success yearly trend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5CFF6E-44DF-4C1D-248D-F2838D90CC21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5E3C519-A318-479E-03DC-7CD81EA0322B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B963967-A501-917C-F5FB-565FA771C84F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6EB19A9-3074-7198-42A1-4072519CA5DF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5CDA34E-D12D-6BDB-648F-124819E099FA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383C6FF-0AA6-3D7A-3646-6701938AA51B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E0CB197-CFFC-BBA5-C60B-70F9C8762C96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958FA4D-DE5A-4395-E514-919F59172EB1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BE70CFE-0A3D-67FE-8C19-0E33034DD2AD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0FBD13A-150C-296F-C61F-68886E82D78A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9249D37-0FE0-614D-14F4-484734F582F3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69C00A-0A71-DA0F-E86C-461A704C9FE8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C11839B-AFD8-ECFA-B91D-6845EB07B791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3E45413-56A4-332F-CE59-25A6909CDF57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184D72F-5ADA-1FED-4658-7CB7B246128A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093B25D-5DE4-04DA-465B-9DAD183A58B0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sz="1400" dirty="0">
                <a:solidFill>
                  <a:srgbClr val="FFFFFF"/>
                </a:solidFill>
                <a:latin typeface="Ubuntu"/>
              </a:rPr>
              <a:t>Scatter charts are useful to observe relationships, or correlations, between two numeric variable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9DCE46B-8EA2-415A-2F8A-54A8CD7DDCBD}"/>
              </a:ext>
            </a:extLst>
          </p:cNvPr>
          <p:cNvSpPr txBox="1"/>
          <p:nvPr/>
        </p:nvSpPr>
        <p:spPr>
          <a:xfrm>
            <a:off x="4322536" y="535521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400" dirty="0">
                <a:solidFill>
                  <a:srgbClr val="FFFFFF"/>
                </a:solidFill>
                <a:latin typeface="Ubuntu"/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08166D7-63C9-7699-E8B3-384946FAF099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400" dirty="0">
                <a:solidFill>
                  <a:srgbClr val="FFFFFF"/>
                </a:solidFill>
                <a:latin typeface="Ubuntu"/>
              </a:rPr>
              <a:t>Line charts contain numerical values on both axes, and are generally used to show the change of a variable over tim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EB164C-600E-B73C-A7C2-05A3808E4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6797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559091-479F-10CC-9D3F-D573EF32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0</a:t>
            </a:fld>
            <a:endParaRPr lang="en-IN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EC2289-E0CF-6782-9D29-A178973BAE05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693584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7ED751-9149-26F0-14B6-FEEDD4CCABFD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xploratory data analysis (eda)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ql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5C796E9-CE26-CB08-CE16-8EF2505C81E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gather some information about the dataset, some SQL queries were perform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QL queries performed on the data set were used to: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names of the unique launch sites in the space mis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5 records where launch sites begin with the string ‘CCA’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total payload mass carried by boosters launched by NASA (CR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average payload mass carried by booster version F9 v1.1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date when the first successful landing outcome on a ground pad was achiev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s which had success on a drone ship and a payload mass between 4000 and 6000 k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total number of successful and failed mission outcom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 versions which have carried the maximum payload ma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failed landing outcomes on drone ships, their booster versions, and launch site names for 2015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6A5AC69-39F4-C6D1-2902-4BF46686A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14CFB-9BDA-7924-C0F1-0BB68DD62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1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8CACFB-074F-A0A2-582D-0E3AC1008ECF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62330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E5AAF-155C-FB0A-3675-A7297A95A898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Geospatial analysis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folium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B56B33-D6E4-33BB-1DFC-FB3839C2A48C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steps were taken to visualize the launch data on an interactive ma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rk all launch sites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itialise the map using a Folium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p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bject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dd a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Circl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for each launch site on the launch map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rk the success/failed launches for each site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many launches have the same coordinates, it makes sense to cluster them together. 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fore clustering them, assign a marker colour of successful (class = 1) as green, and failed (class = 0) as red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put the launches into clusters, for each launch, add a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o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rkerCluster(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bject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e an icon as a text label, assigning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con_color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rker_colou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etermined previously.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distances between a launch site to its proximities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explore the proximities of launch sites, calculations of distances between points can be made using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ong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values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marking a point using th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ong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values, create a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bject to show the distance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display the distance line between two points, draw a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PolyLin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add this to the ma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B625C-E511-9C15-04AA-CD20B9C6D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B10C18-123F-1CFD-8A00-B5C97B1BA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2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1B5D9B-67B8-9E5D-6191-F60D2E60B74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625093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1FA4C-C896-1B82-CCE8-ACF6AE5266B0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Interactive dashboard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lotly dash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9D7109-65FD-1756-8D55-1A7C631C002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plots were added to a Plotly Dash dashboard to have an interactive visualisation of the dat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ie chart (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pie()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showing the total successful launches per site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makes it clear to see which sites are most successfu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chart could also be filtered (using 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cc.Dropdown()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bject) to see the success/failure ratio for an individual sit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graph (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scatter()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to show the correlation between outcome (success or not) and payload mass (kg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could be filtered (using a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angeSlider()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) by ranges of payload masse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could also be filtered by booster ver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5D72FC-D8BE-6234-FC5E-37B0B332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6797"/>
            <a:ext cx="7543800" cy="365125"/>
          </a:xfrm>
        </p:spPr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F4AFF7-8F57-4E1F-280B-ADB112B25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3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EC34F-CF38-701B-906F-4C085473B75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874363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E51E291-7430-A9D0-EDF4-5A6E19876372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rgbClr val="12ABDB"/>
                </a:solidFill>
                <a:latin typeface="Ubuntu"/>
              </a:rPr>
              <a:t>The following steps were taking to develop, evaluate, and find the best performing classification model:</a:t>
            </a:r>
            <a:endParaRPr lang="en-US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3DE69F1-7328-B604-0310-8456E89CB5B2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redictive Analysis -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lassification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9FE9498-72EB-E2EC-EB8F-8FF773852213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Model Development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84862EC-A39B-3E0C-3CE4-50681667E0CA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Ubuntu"/>
              </a:rPr>
              <a:t>To prepare the dataset for model development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Load dataset		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Perform necessary data transformations (standardise and pre-process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Split data into training and test data sets, using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ain_test_split(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Ubuntu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>
                <a:solidFill>
                  <a:srgbClr val="FFFFFF"/>
                </a:solidFill>
                <a:latin typeface="Ubuntu"/>
              </a:rPr>
              <a:t> object and a dictionary of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Fit the object to the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Use the training data set to train the model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530159E-F0F7-DF04-447D-415538ADA620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Model Evaluation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3F28BC5-82C2-48AD-E84C-AFF3FC902AF9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Ubuntu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Using the output GridSearchCV object: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solidFill>
                  <a:srgbClr val="FFFFFF"/>
                </a:solidFill>
                <a:latin typeface="Ubuntu"/>
              </a:rPr>
              <a:t>Check the tuned hyperparameters (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000" dirty="0">
                <a:solidFill>
                  <a:srgbClr val="61AFEF"/>
                </a:solidFill>
                <a:latin typeface="Ubuntu"/>
              </a:rPr>
              <a:t>_</a:t>
            </a:r>
            <a:r>
              <a:rPr lang="en-GB" sz="1000" dirty="0">
                <a:solidFill>
                  <a:srgbClr val="FFFFFF"/>
                </a:solidFill>
                <a:latin typeface="Ubuntu"/>
              </a:rPr>
              <a:t>)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solidFill>
                  <a:srgbClr val="FFFFFF"/>
                </a:solidFill>
                <a:latin typeface="Ubuntu"/>
              </a:rPr>
              <a:t>Check the accuracy (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000" dirty="0">
                <a:solidFill>
                  <a:srgbClr val="FFFFFF"/>
                </a:solidFill>
                <a:latin typeface="Ubuntu"/>
              </a:rPr>
              <a:t>and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000" dirty="0">
                <a:solidFill>
                  <a:srgbClr val="FFFFFF"/>
                </a:solidFill>
                <a:latin typeface="Ubuntu"/>
              </a:rPr>
              <a:t>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Ubuntu"/>
              </a:rPr>
              <a:t>Plot and examine the Confusion Matrix</a:t>
            </a:r>
          </a:p>
          <a:p>
            <a:endParaRPr lang="en-GB" sz="1400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6B9AF38-2354-CE43-C733-E95EB5BBF8EE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Finding the Best Classification Model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AD85841A-BF2C-D647-6154-A02A42C869C8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Ubuntu"/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Ubuntu"/>
              </a:rPr>
              <a:t>The model with the highest accuracy score is determined as the best performing model</a:t>
            </a:r>
            <a:endParaRPr lang="en-GB" sz="1800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773D3343-A619-E01F-CA18-FC8ED2141462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C77DBE00-AF60-6E64-B702-3F955516C78C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9862BD2-F0C4-E60C-6F3A-1421752A6BD6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61BBD16-A86C-ABC2-A2C2-60509B336E0D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25DF8AF-411F-3D77-8998-1FD513774F12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1DCA1A6-89AD-678D-F563-6EBD730F3B69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C966CC2-120E-6035-1A4C-58BD39ECF425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C724185-CD44-7983-E147-C18EF316CED5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5E1A75E-7AB9-D5A0-0726-3AD0394FC438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  <p:sp>
        <p:nvSpPr>
          <p:cNvPr id="42" name="Graphic 31" descr="Trophy with solid fill">
            <a:extLst>
              <a:ext uri="{FF2B5EF4-FFF2-40B4-BE49-F238E27FC236}">
                <a16:creationId xmlns:a16="http://schemas.microsoft.com/office/drawing/2014/main" id="{1E7377CF-B307-510C-700E-BF81DAE3C86D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rgbClr val="12ABDB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</a:rPr>
              <a:t>1</a:t>
            </a:r>
          </a:p>
        </p:txBody>
      </p:sp>
      <p:grpSp>
        <p:nvGrpSpPr>
          <p:cNvPr id="43" name="Graphic 34" descr="Gears with solid fill">
            <a:extLst>
              <a:ext uri="{FF2B5EF4-FFF2-40B4-BE49-F238E27FC236}">
                <a16:creationId xmlns:a16="http://schemas.microsoft.com/office/drawing/2014/main" id="{96C8B94F-1A58-056E-F78B-1F57131A39CC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rgbClr val="12ABDB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9F89A4E-EBC3-64D6-7A9C-7CA0435616FD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FC49559-A3D8-2D62-17B9-78B3870DC1E9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  <p:sp>
        <p:nvSpPr>
          <p:cNvPr id="46" name="Footer Placeholder 45">
            <a:extLst>
              <a:ext uri="{FF2B5EF4-FFF2-40B4-BE49-F238E27FC236}">
                <a16:creationId xmlns:a16="http://schemas.microsoft.com/office/drawing/2014/main" id="{1DF3F419-2D83-090F-7B2C-BEB0864E3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524406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A5C59EC2-6E8E-F4E9-D59D-805D4A2EB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4</a:t>
            </a:fld>
            <a:endParaRPr lang="en-IN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F32B805-ABA9-D60E-5304-10C3C35B579E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790639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5">
            <a:extLst>
              <a:ext uri="{FF2B5EF4-FFF2-40B4-BE49-F238E27FC236}">
                <a16:creationId xmlns:a16="http://schemas.microsoft.com/office/drawing/2014/main" id="{6A980E06-2902-A138-873B-CC5364ACE53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85" b="2785"/>
          <a:stretch>
            <a:fillRect/>
          </a:stretch>
        </p:blipFill>
        <p:spPr>
          <a:xfrm>
            <a:off x="5303838" y="0"/>
            <a:ext cx="6888162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40C217F-13D9-04E1-516F-A594ECACAF20}"/>
              </a:ext>
            </a:extLst>
          </p:cNvPr>
          <p:cNvSpPr txBox="1">
            <a:spLocks/>
          </p:cNvSpPr>
          <p:nvPr/>
        </p:nvSpPr>
        <p:spPr>
          <a:xfrm>
            <a:off x="624040" y="980728"/>
            <a:ext cx="4104382" cy="7478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 cap="all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GB" sz="5400"/>
              <a:t>results</a:t>
            </a:r>
            <a:r>
              <a:rPr lang="en-GB" sz="4400"/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4" name="Rectangle: Diagonal Corners Snipped 3">
            <a:extLst>
              <a:ext uri="{FF2B5EF4-FFF2-40B4-BE49-F238E27FC236}">
                <a16:creationId xmlns:a16="http://schemas.microsoft.com/office/drawing/2014/main" id="{A89E8F84-D314-C5FB-6CEE-42F49A7B0DAF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id="{0A72CD43-37BC-F6ED-97F3-86B930CC3EFA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D2B60828-CBAB-011C-24E2-7508AC2CFC12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F603DD3-45DE-14A3-09BD-E2E462249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73200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1B5DDC-79F8-0678-0471-200A33DAC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5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9F9B48-6EFB-5C71-1645-E4E3813C7EC3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089058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F6CA6-86EF-6ACD-0866-4CB0E89EC5B6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EDA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WITH VISUALIZATION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D90BBA-173F-3D2A-7DE4-F0487411F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391" y="6492875"/>
            <a:ext cx="7543800" cy="365125"/>
          </a:xfrm>
        </p:spPr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8D14FD-24CD-7311-EF9B-3D6ECA606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6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382E3D-6A14-12B4-5A05-DE329806CB9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24378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A3239-38CE-0BAC-EEA7-09C908060F7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 Site VS. FLIGHT NUMBER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24F794-5F6C-F110-57CD-19EBD3006F5A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691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catter plot of Launch Site vs. Flight Number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number of flights increases, the rate of success at a launch site increas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st of the early flights (flight numbers &lt; 30) were launched from CCAFS SLC 40, and were generally unsuccessful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lights from VAFB SLC 4E also show this trend, that earlier flights were less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early flights were launched from KSC LC 39A, so the launches from this site are more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bove a flight number of around 30, there are significantly more successful landings (Class = 1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F7B6D4CF-3D5A-5B8E-196A-46BF0B954F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4030A-B5C1-94F8-C376-66CB33C9D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DF278-F58D-F9B7-7C27-643DA5D49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7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5239AD-7252-D947-091E-E57A399C7747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1319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A7C76-5608-5D1E-375A-E637C7214EF4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ITE vs. PAYLOAD MAS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8BF8D-B9CC-6094-9FAA-4142D4B18810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323035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catter plot of Launch Sit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bove a payload mass of around 7000 kg, there are very few unsuccessful landings, but there is also far less data for these heavier launch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re is no clear correlation between payload mass and success rate for a given launch sit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l sites launched a variety of payload masses, with most of the launches from CCAFS SLC 40 being comparatively lighter payloads (with some outliers)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A picture containing text">
            <a:extLst>
              <a:ext uri="{FF2B5EF4-FFF2-40B4-BE49-F238E27FC236}">
                <a16:creationId xmlns:a16="http://schemas.microsoft.com/office/drawing/2014/main" id="{DBAE5A78-F9ED-3EBC-049A-0562EF2391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D4294-32A5-58CB-F2E0-B5509C7BE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C53EA-9329-4563-CFE4-3D0B49FD4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8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6EF5D2-4C06-46A3-0199-3040E260ED90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611323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2E6F6-5F22-A1F4-E6FB-FD5258FC9CC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 Rate vs. Orbit Typ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3A263C-DBA2-98B0-4F85-CA110329B1BF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683075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ar chart of Success Rate vs. Orbit Type shows that the following orbits have the highest (100%) success rat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-L1 (Earth-Sun First Lagrangian Poin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 (Geostationary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EO (High Earth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SO (Sun-synchronous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with the lowest (0%) success rate i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O (Heliocentric Orbit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5A965395-D463-000A-ACB6-A0B5ACFB1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B6AD06-7636-D729-0B86-78FB05781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511194-3AA6-8029-032E-2744884A9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19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552BC8-B86C-1F44-AC97-20C064A1613D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0473705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457763EA-BCB2-B0EC-7AED-167E38761E7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908BFD40-BE70-FE1B-C6EB-7939DCC86E4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6</a:t>
            </a:r>
          </a:p>
        </p:txBody>
      </p:sp>
      <p:sp>
        <p:nvSpPr>
          <p:cNvPr id="6" name="Rectangle 5">
            <a:hlinkClick r:id="rId15" action="ppaction://hlinksldjump"/>
            <a:extLst>
              <a:ext uri="{FF2B5EF4-FFF2-40B4-BE49-F238E27FC236}">
                <a16:creationId xmlns:a16="http://schemas.microsoft.com/office/drawing/2014/main" id="{66B51426-EE19-4789-1C44-E9B07466F0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Conclusions</a:t>
            </a:r>
          </a:p>
        </p:txBody>
      </p:sp>
      <p:sp>
        <p:nvSpPr>
          <p:cNvPr id="7" name="Rectangle 6">
            <a:hlinkClick r:id="rId15" action="ppaction://hlinksldjump"/>
            <a:extLst>
              <a:ext uri="{FF2B5EF4-FFF2-40B4-BE49-F238E27FC236}">
                <a16:creationId xmlns:a16="http://schemas.microsoft.com/office/drawing/2014/main" id="{88ADD286-CA25-AF33-0089-C65AF2577C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8" name="Rectangle 7">
            <a:hlinkClick r:id="rId16" action="ppaction://hlinksldjump"/>
            <a:extLst>
              <a:ext uri="{FF2B5EF4-FFF2-40B4-BE49-F238E27FC236}">
                <a16:creationId xmlns:a16="http://schemas.microsoft.com/office/drawing/2014/main" id="{823E3FB1-8A7B-C662-8A4A-33C15454D85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9" name="Rectangle 8">
            <a:hlinkClick r:id="rId16" action="ppaction://hlinksldjump"/>
            <a:extLst>
              <a:ext uri="{FF2B5EF4-FFF2-40B4-BE49-F238E27FC236}">
                <a16:creationId xmlns:a16="http://schemas.microsoft.com/office/drawing/2014/main" id="{9F2DEAA2-F40E-9457-FF73-2771FCAB299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10" name="Rectangle 9">
            <a:hlinkClick r:id="rId17" action="ppaction://hlinksldjump"/>
            <a:extLst>
              <a:ext uri="{FF2B5EF4-FFF2-40B4-BE49-F238E27FC236}">
                <a16:creationId xmlns:a16="http://schemas.microsoft.com/office/drawing/2014/main" id="{8AAED038-B61C-F098-294A-95976D515FA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11" name="Rectangle 10">
            <a:hlinkClick r:id="rId17" action="ppaction://hlinksldjump"/>
            <a:extLst>
              <a:ext uri="{FF2B5EF4-FFF2-40B4-BE49-F238E27FC236}">
                <a16:creationId xmlns:a16="http://schemas.microsoft.com/office/drawing/2014/main" id="{32AB920A-4B47-01D3-1188-AA6A41F4E5A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3</a:t>
            </a:r>
          </a:p>
        </p:txBody>
      </p:sp>
      <p:sp>
        <p:nvSpPr>
          <p:cNvPr id="12" name="Rectangle 11">
            <a:hlinkClick r:id="rId18" action="ppaction://hlinksldjump"/>
            <a:extLst>
              <a:ext uri="{FF2B5EF4-FFF2-40B4-BE49-F238E27FC236}">
                <a16:creationId xmlns:a16="http://schemas.microsoft.com/office/drawing/2014/main" id="{88C0A0A2-851D-9482-8930-13DB8074744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3" name="Rectangle 12">
            <a:hlinkClick r:id="rId18" action="ppaction://hlinksldjump"/>
            <a:extLst>
              <a:ext uri="{FF2B5EF4-FFF2-40B4-BE49-F238E27FC236}">
                <a16:creationId xmlns:a16="http://schemas.microsoft.com/office/drawing/2014/main" id="{91132F82-8981-A606-DB19-47AC5CF7097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14" name="Rectangle 13">
            <a:hlinkClick r:id="rId19" action="ppaction://hlinksldjump"/>
            <a:extLst>
              <a:ext uri="{FF2B5EF4-FFF2-40B4-BE49-F238E27FC236}">
                <a16:creationId xmlns:a16="http://schemas.microsoft.com/office/drawing/2014/main" id="{08432E9D-E084-560C-8500-53BD03C588F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15" name="Rectangle 14">
            <a:hlinkClick r:id="rId19" action="ppaction://hlinksldjump"/>
            <a:extLst>
              <a:ext uri="{FF2B5EF4-FFF2-40B4-BE49-F238E27FC236}">
                <a16:creationId xmlns:a16="http://schemas.microsoft.com/office/drawing/2014/main" id="{E9ADD94A-FDC2-134F-5CB0-1650CAB368F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E2B6AEF-2C30-9A0E-F671-FB9F863B556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04813" y="188640"/>
            <a:ext cx="10947772" cy="716711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848F55F-8B89-472D-D235-BA90C4786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1D1E7-3398-F74C-511E-60209B9FC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</a:t>
            </a:fld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7F0B07-7106-1208-41B1-8D65FCED8A2D}"/>
              </a:ext>
            </a:extLst>
          </p:cNvPr>
          <p:cNvSpPr txBox="1"/>
          <p:nvPr/>
        </p:nvSpPr>
        <p:spPr>
          <a:xfrm>
            <a:off x="10133046" y="475861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0"/>
              </a:rPr>
              <a:t> </a:t>
            </a:r>
            <a:r>
              <a:rPr lang="en-US" dirty="0" err="1">
                <a:hlinkClick r:id="rId20"/>
              </a:rPr>
              <a:t>Github</a:t>
            </a:r>
            <a:r>
              <a:rPr lang="en-US" dirty="0">
                <a:hlinkClick r:id="rId20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352599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C998A-66C8-860B-FEB3-CB66BFA32B8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Orbit Type vs. flight number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B524FB-1F3A-54B0-CBC5-FC6765B0D0C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61106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Flight number shows a few useful things that the previous plots did not, such a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re is little relationship between Flight Number and Success Rate for GT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C49D1733-5E0F-4B8D-D805-2596C808BB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99706-71DE-9FAB-0D58-DCFE39D43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27950D-F030-6193-B785-70E30EABE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0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FDD8D6-EE97-DC4B-2DD8-459EDD425BD2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51323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70E27-F31C-C17D-7A09-80F16726317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ORBIT TYPE VS. PAYLOAD MAS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5E3CF-22A2-635F-F3FA-A3F2CF3EF16F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82709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orbit types have more success with heavy payloads: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O (although the number of data points is small)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SS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E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GTO, the relationship between payload mass and success rate is unclea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3437B250-0075-BEAA-BC8D-C3D2BDBF80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4AFE6-B13E-13D4-B421-3551EB459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610EC7-15E0-D5E8-B8A1-B8055F33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1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E543B1-C5A6-29FD-344F-4280B3E18C96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627167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9E02C-9CB1-7420-82A3-377B0F45929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uccess Yearly Trend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525CC5-E68A-865A-7038-6919710424EB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25913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ine chart of yearly average success rate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tween 2010 and 2013, all landings were unsuccessful (as the success rate is 0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3, the success rate generally increased, despite small dips in 2018 and 2020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6, there was always a greater than 50% chance of success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B251BB61-314B-24A1-7379-F71009DDC2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A7CE8-9606-5E87-91B7-7AA5D9157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2ADE2F-F5E8-8D51-55D3-8D7D838B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2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8D9560-7103-2E84-D917-E4C1E107D424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984199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C358CE4-A50A-B94C-4BE0-9B6983DB69DA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EDA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WITH SQL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100BB4-B577-5D75-AF80-E591F651D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3743DD-1C50-9065-4389-7FBA263E5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3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7D5075-73E6-6EF1-4751-DEE10FDC289F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080065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067BB9-C712-4B90-9885-65707B3660D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ll Launch Site Name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7D1C0A-231C-3660-7994-4096BDAB5158}"/>
              </a:ext>
            </a:extLst>
          </p:cNvPr>
          <p:cNvSpPr txBox="1">
            <a:spLocks/>
          </p:cNvSpPr>
          <p:nvPr/>
        </p:nvSpPr>
        <p:spPr>
          <a:xfrm>
            <a:off x="404814" y="1447800"/>
            <a:ext cx="11382374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names of the unique launch sit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word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NIQU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turns only unique values from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_SIT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 of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PACEXTBL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able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70A58D-716F-5661-1DE5-188903698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585CEA30-F912-5157-A2D0-94BB8B9659E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BBE8C59-FF20-1476-06B2-194D2D113B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9F7ED66-A9B0-D2ED-3F41-A9750A45E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3EC988-0BE6-8148-D6BF-27FD6B21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4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6D21EB-F318-F076-9B5B-0CF6DC88DC0F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56067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7C39C-E652-B1A4-E4EF-073103DD1F83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ite Names Begin with 'CCA'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E16CCD-6ED9-6BC5-394C-BBD089707CB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5 records where launch sites begin with ‘CCA’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MIT 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fetches only 5 records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with the wild car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78986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‘CCA%’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o retrieve string values beginning with ‘CCA’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3724F5C-C4F7-451C-05BD-3F9FB2A639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850BAA3-85D8-2F99-94A1-671502E8EC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0B0C27E8-417D-1E45-AC31-20C05477D12B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6AA10EE-358A-3946-7F99-D7649BA3A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361FE28-3CEC-3B34-C287-EB35C5D85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5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22B69-6D89-7D32-0840-0AC36C86CD00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431296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F9B38-448B-E5F4-68C9-36E9D56D46A0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Total Payload Mas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13142B-544B-EDAE-4F8D-E974C5418F6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payload carried by boosters from NAS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total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(and the associated condition) filters the results to only boosters from NASA (CRS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55EF8B11-EBA3-7FEE-028F-DCB1CF0462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6D88EF-C096-F6CD-A6A3-EDFFFA9754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D504BECA-2B07-238E-F885-2EF947C732E5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CD5ED0-7653-5606-FFD2-8FAE25FEF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9FB917-3030-62B9-D233-5DDBCBE7E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6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3E531B-EB41-4820-7055-581B7CE0F80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723065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2D952-B10F-73D4-5C3F-10CF6924FA16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verage Payload Mass by F9 v1.1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45677D-62D2-BF30-BB6C-BD56F887F24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average payload mass carried by booster version F9 v1.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VG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average of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AYLOAD_MASS__KG_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 Medium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and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F9 v1.1 booster vers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200DEF-5E0E-C8CD-2B7A-43530CD9CE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A978F74-035E-8259-EBF2-A4D18F1C7C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097588AE-B829-5741-AA65-4D920D0BF83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FC9847-6FC6-C774-4301-B4A703494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DC75E8-3418-3E06-EC3A-C15972160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7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CCCD0D-3344-AD3C-FF33-89D4119622C6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945532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98508-C63D-06B9-D187-ECBF0B8EF5B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FIRST SUCCESSFUL GROUND LANDING DAT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1C592B-0C69-1392-EDEB-A74AE6E44620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dates of the first successful landing outcome on ground pa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I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minimum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i.e. the first date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successful ground pad landing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337B02A-5137-CE85-7A19-0AF85BE401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AAAF69E-2858-CDBE-ECC9-2F9F05581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9D4885EE-F3C0-CC97-D30C-6DA40B8BD45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784CF9-C539-8D4E-527E-7F75254E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6128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C84B2F6-0B53-F574-8037-0AD81D82C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8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515EC2-0BC1-9859-F8FF-CAC974B9E044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51612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EF9BA-5AE9-498C-91FC-FA7681A0BAC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ful Drone Ship Landing with Payload between 4000 and 6000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CB3970-20FB-D768-2D11-5AA99107156F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boosters which have successfully landed on drone ship and had payload mass greater than 4000 but less than 600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filter the results to include only those that satisfy both conditions in the brackets (as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also used).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allows for 4000 &lt; x &lt; 6000 values to be selec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F8627ABD-EFDB-4D24-9501-83C5254A9D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54702CE-A981-BD22-6B1A-7D7A9DF76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AB75E06D-0EEB-DB7A-A237-3EBD3725EABC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5160919-B888-A34A-DD3B-BC55A8580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55E3D1-1AA7-E7AB-7414-D1BB626E4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29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590589-B667-E13D-00E3-203AD153378F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334534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FDA5971-AC8B-1CCF-3E89-066EAA5937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6BE0A5D7-40F2-16A3-3A41-8F9289D33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88640"/>
            <a:ext cx="10947772" cy="716711"/>
          </a:xfrm>
        </p:spPr>
        <p:txBody>
          <a:bodyPr/>
          <a:lstStyle/>
          <a:p>
            <a:r>
              <a:rPr lang="en-GB" dirty="0"/>
              <a:t>EXECUTIVE SUMMARY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C308A2C1-9E1F-48C1-7ECA-D4647531FBA3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6627291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b="1" i="0" kern="120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100" dirty="0">
                <a:solidFill>
                  <a:schemeClr val="accent2"/>
                </a:solidFill>
                <a:effectLst/>
              </a:rPr>
              <a:t>Summary of Methodologies:</a:t>
            </a:r>
          </a:p>
          <a:p>
            <a:pPr marL="184150" lvl="2"/>
            <a:r>
              <a:rPr lang="en-GB" dirty="0"/>
              <a:t>This project follows these steps: </a:t>
            </a:r>
          </a:p>
          <a:p>
            <a:pPr marL="819150" lvl="2" indent="-457200"/>
            <a:r>
              <a:rPr lang="en-GB" dirty="0"/>
              <a:t>Data Collection</a:t>
            </a:r>
          </a:p>
          <a:p>
            <a:pPr marL="819150" lvl="2" indent="-457200"/>
            <a:r>
              <a:rPr lang="en-GB" dirty="0"/>
              <a:t>Data Wrangling </a:t>
            </a:r>
          </a:p>
          <a:p>
            <a:pPr marL="819150" lvl="2" indent="-457200"/>
            <a:r>
              <a:rPr lang="en-GB" dirty="0"/>
              <a:t>Exploratory Data Analysis</a:t>
            </a:r>
          </a:p>
          <a:p>
            <a:pPr marL="819150" lvl="2" indent="-457200"/>
            <a:r>
              <a:rPr lang="en-GB" dirty="0"/>
              <a:t>Interactive Visual Analytics</a:t>
            </a:r>
          </a:p>
          <a:p>
            <a:pPr marL="819150" lvl="2" indent="-457200"/>
            <a:r>
              <a:rPr lang="en-GB" dirty="0"/>
              <a:t>Predictive Analysis (Classification)</a:t>
            </a:r>
          </a:p>
          <a:p>
            <a:pPr marL="819150" lvl="2" indent="-457200"/>
            <a:endParaRPr lang="en-GB" dirty="0"/>
          </a:p>
          <a:p>
            <a:pPr marL="719138" lvl="2" indent="-719138"/>
            <a:r>
              <a:rPr lang="en-GB" sz="1100" b="1" dirty="0">
                <a:solidFill>
                  <a:schemeClr val="accent2"/>
                </a:solidFill>
              </a:rPr>
              <a:t>Summary of Results:</a:t>
            </a:r>
            <a:endParaRPr lang="en-GB" dirty="0"/>
          </a:p>
          <a:p>
            <a:r>
              <a:rPr lang="en-GB" dirty="0">
                <a:solidFill>
                  <a:schemeClr val="accent2"/>
                </a:solidFill>
              </a:rPr>
              <a:t>of Results:</a:t>
            </a:r>
          </a:p>
          <a:p>
            <a:pPr marL="184150" lvl="2"/>
            <a:r>
              <a:rPr lang="en-GB" dirty="0"/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Predictive analysis of classification models</a:t>
            </a:r>
          </a:p>
          <a:p>
            <a:endParaRPr lang="en-GB" sz="5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8B4AA1-B490-CAF7-82A2-931B7CE5EC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00FF835-F0FC-7413-A2FA-6338894A36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F5036F9-E745-8CF5-8313-0A570511E71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3FB0B9C5-7FA6-370C-6ECE-7C9DA41670EC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70C3A00-C2B9-14CA-E710-281BA1E4BA71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8ECA24E-8D92-D985-0D78-4C3F79CBF4BA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4309254-2F18-20CE-7E9C-55D93B5ADBA1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5E7E3E-3BAB-07A3-F291-88F4EDF82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813" y="5881129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F6EFF3-4C62-EBE9-2BAB-3A1514164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</a:t>
            </a:fld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92D8AB-B2E0-7F1A-3DFB-FBAF8AA57F1C}"/>
              </a:ext>
            </a:extLst>
          </p:cNvPr>
          <p:cNvSpPr txBox="1"/>
          <p:nvPr/>
        </p:nvSpPr>
        <p:spPr>
          <a:xfrm>
            <a:off x="10133046" y="475861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6"/>
              </a:rPr>
              <a:t> </a:t>
            </a:r>
            <a:r>
              <a:rPr lang="en-US" dirty="0" err="1">
                <a:hlinkClick r:id="rId6"/>
              </a:rPr>
              <a:t>Github</a:t>
            </a:r>
            <a:r>
              <a:rPr lang="en-US" dirty="0">
                <a:hlinkClick r:id="rId6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563423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F7FE6-5E58-FAB3-19DA-901228FD4E2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Total Number of Successful and Failure Mission Outcom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285D30-7D34-B306-A217-015AC45F0D1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number of successful and failure mission outco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UN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total number of mission outcomes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also used to group these results by the type of mission outcome.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36C8844C-2765-4742-46E5-2A5BA39113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0F44823-3110-DE6B-09E3-311420E21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081A40F1-AB06-F115-2136-015819F09CD3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63BA77C-04FB-4108-0281-BB350068D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6797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F9F45D-A97A-1A10-2AE0-B16986F018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0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F7510A-AE5A-9BC9-5F6C-FDACC8128B55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281689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706B13-BB7B-651A-D284-7D71714F9B3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Boosters Carried Maximum Payload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FD0F88F-21EF-AF95-65E5-ABC62C08E568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92195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 which have carried the maximum payload mas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 subquery is used here.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statement within the brackets finds the maximum payload, and this value is used in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ndition.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STINC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then used to retrieve only distinct /unique booster versi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3F07D7B1-C71E-7AF1-455E-544E7646F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879627-418B-1B12-771F-E740145FB2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8ED1045A-AFE6-180E-1C19-67A6BCD02175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72C2039-E2B7-76C9-C680-9A45E3617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F0CFC2A-E551-6EB0-0BA9-69F05E105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1</a:t>
            </a:fld>
            <a:endParaRPr lang="en-IN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7A6453-133D-32AE-9594-84B48902014C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98758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80730-184C-EFC9-26C0-F3F0BC953D23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2015 Launch Record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CA48B7-AFCA-1FD7-0DC3-8CAFE2046F23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failed landing_outcomes in drone ship, their booster versions, and launch site names for in year 201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filter the results for only failed landing outcomes,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nly for the year of 20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AA8BC8F-505A-072A-DCE5-7C5E2ECF01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7F18BB-6C91-B08B-2783-C844054C8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55F3AD60-8568-2918-F155-ED0B79917791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9869E68-A9A8-E398-1DF0-36E607BA8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E1140E-B88C-2CDF-902B-CEF22701E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2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7CCFEB-7B2D-D5ED-6953-6DA6EC3564D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159810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D309C-6AB9-8DED-1A45-84E0E312247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Rank Landing Outcomes Between 2010-06-04 and 2017-03-20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33C63D-C1B7-534F-BEFF-5FF59CE9585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with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to filter the results to dates only within those specified. The results are then grouped and ordered, using the keyword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 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RDER 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respectively, wher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ESC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s used to specify the descending order.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518B48E-0BDA-E90B-0A01-69621D0486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D929E8-B90A-38CD-290A-AB7E3A82D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F8000FCC-01A6-9B7C-5F00-4548308FA09C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033B572-61D3-4F69-442F-8FDA93879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DE70851-3664-21C7-8C84-E5DF71D22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3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F8A20E-5193-4A53-C3E8-BDC45AF5FF5C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0935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91666-EEFC-1920-1F26-D31372D776D2}"/>
              </a:ext>
            </a:extLst>
          </p:cNvPr>
          <p:cNvSpPr txBox="1">
            <a:spLocks/>
          </p:cNvSpPr>
          <p:nvPr/>
        </p:nvSpPr>
        <p:spPr>
          <a:xfrm>
            <a:off x="404813" y="1323344"/>
            <a:ext cx="11386134" cy="3046988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LAUNCH SITES PROXIMITY ANALYSIS – </a:t>
            </a:r>
            <a:r>
              <a:rPr kumimoji="0" lang="en-US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FOLIUM INTERACTIVE MAP</a:t>
            </a:r>
            <a:endParaRPr kumimoji="0" lang="en-US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3C2FEF-B795-BD9A-F1C7-5D71382ABF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2DC452-84C7-8855-3AE1-5862CA5CB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4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42A231-8B69-F551-E03C-94270D6619CE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746280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123FB-A5DE-5C44-E376-F752A8BCDEEB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LL LAUNCH SITES ON A MAP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B51A10-C263-66CA-8ADC-1F5646304032}"/>
              </a:ext>
            </a:extLst>
          </p:cNvPr>
          <p:cNvSpPr txBox="1">
            <a:spLocks/>
          </p:cNvSpPr>
          <p:nvPr/>
        </p:nvSpPr>
        <p:spPr>
          <a:xfrm>
            <a:off x="404813" y="4458153"/>
            <a:ext cx="6051227" cy="21297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l SpaceX launch sites are on coasts of the United States of America, specifically Florida and Californi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F54101-92BC-5BB5-4FFC-BC6A522447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A60146-DFDF-EB01-EE4E-9480105AD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168C51-487F-24A2-E0A2-C0AD664DE5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0644BA-58E4-C235-5762-248A30BD29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C99817C-7A85-08EB-A304-B4C1DBD10CB4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984D807-37B9-225A-4975-8894F94DD6C4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F2EB870-F4AB-3B37-2AB8-B370B64A8133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F445D1F-26E7-CF20-3857-B00B8733B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37F56F7-2825-8948-D4F5-909D58E8C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5</a:t>
            </a:fld>
            <a:endParaRPr lang="en-IN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869B0A-A2A2-466E-E56D-95DB94DC62B5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6"/>
              </a:rPr>
              <a:t> </a:t>
            </a:r>
            <a:r>
              <a:rPr lang="en-US" dirty="0" err="1">
                <a:hlinkClick r:id="rId6"/>
              </a:rPr>
              <a:t>Github</a:t>
            </a:r>
            <a:r>
              <a:rPr lang="en-US" dirty="0">
                <a:hlinkClick r:id="rId6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164410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04F00B-011E-9370-95D7-9D229082F430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/FAILED LAUNCHES FOR EACH SIT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389D9-F714-89A1-31CF-37F4A8177FAB}"/>
              </a:ext>
            </a:extLst>
          </p:cNvPr>
          <p:cNvSpPr txBox="1">
            <a:spLocks/>
          </p:cNvSpPr>
          <p:nvPr/>
        </p:nvSpPr>
        <p:spPr>
          <a:xfrm>
            <a:off x="6607174" y="1447801"/>
            <a:ext cx="5203825" cy="21390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unches have been grouped into clusters, and annotated with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58A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reen icon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successful launches, and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05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d icon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failed launches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120DE3-CC0C-C138-716A-658BDAE5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FDC836-C007-52F5-B5F9-15CFDBEE117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09716F-4766-786C-5913-F1D8398021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858AE3B-3B2C-12F4-EFD7-17F39447DE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E5D371-B410-306C-0DC7-368343B7F1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20217E5-DA6F-5D81-69E2-9C06F8BB59A9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A596D5E-F62B-ACB3-912A-D19E6561BE42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8D495A5-CECE-30F7-6542-019258C3C4A4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F378F59-9DE8-CB09-22E3-0A0AA523EC77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i="1" smtClean="0">
                          <a:solidFill>
                            <a:srgbClr val="12ABD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rgbClr val="12ABDB"/>
                  </a:solidFill>
                  <a:latin typeface="Ubuntu"/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F378F59-9DE8-CB09-22E3-0A0AA523EC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BD8C5EC6-93B9-00EC-B623-5678519A627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CCAFS SLC-40 and CCAFS LC-4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7A34FA-B7AE-07D0-B6B2-4882FD90C69C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KSC LC-39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2EB035-3D55-CF32-BAF9-4C01EC13E687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VAFB SLC-4E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271106D-AD9B-2B78-F7FA-C1AD9442AA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61253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CA87D14-4E10-4932-2136-00D26A543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6</a:t>
            </a:fld>
            <a:endParaRPr lang="en-IN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D35B94-A7A0-F1B9-7950-A5C8C5CFA9D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8"/>
              </a:rPr>
              <a:t> </a:t>
            </a:r>
            <a:r>
              <a:rPr lang="en-US" dirty="0" err="1">
                <a:hlinkClick r:id="rId8"/>
              </a:rPr>
              <a:t>Github</a:t>
            </a:r>
            <a:r>
              <a:rPr lang="en-US" dirty="0">
                <a:hlinkClick r:id="rId8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567153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58F33F-002A-92F1-1363-1D3F71BC4C3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ROXIMITY OF LAUNCH SITES TO OTHER POINTS OF INTEREST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20E988-3F47-731B-8800-B737B7A0D8E9}"/>
              </a:ext>
            </a:extLst>
          </p:cNvPr>
          <p:cNvSpPr txBox="1">
            <a:spLocks/>
          </p:cNvSpPr>
          <p:nvPr/>
        </p:nvSpPr>
        <p:spPr>
          <a:xfrm>
            <a:off x="7968208" y="1196752"/>
            <a:ext cx="3826538" cy="21114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he coastline is only 0.87 km due Ea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high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highway is only 0.59km awa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railway is only 1.29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o launch sites keep certain distance away from citie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city is 51.74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318B73-AB67-FC3A-59E8-4253B4E28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6650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9FE53C-8D50-FCF4-CD61-FDCB3FA93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381808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3387D2-FB43-AD38-68E9-C504DA473A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760" y="1245590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A7F83F-C13D-67DF-5887-2B63EB20A7CC}"/>
              </a:ext>
            </a:extLst>
          </p:cNvPr>
          <p:cNvSpPr txBox="1"/>
          <p:nvPr/>
        </p:nvSpPr>
        <p:spPr>
          <a:xfrm>
            <a:off x="479376" y="1163716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600" dirty="0">
                <a:solidFill>
                  <a:srgbClr val="FFFFFF"/>
                </a:solidFill>
                <a:latin typeface="Ubuntu"/>
              </a:rPr>
              <a:t>Using the </a:t>
            </a:r>
            <a:r>
              <a:rPr lang="en-GB" sz="1600" dirty="0">
                <a:solidFill>
                  <a:srgbClr val="12ABDB"/>
                </a:solidFill>
                <a:latin typeface="Ubuntu"/>
              </a:rPr>
              <a:t>CCAFS SLC-40 </a:t>
            </a:r>
            <a:r>
              <a:rPr lang="en-GB" sz="1600" dirty="0">
                <a:solidFill>
                  <a:srgbClr val="FFFFFF"/>
                </a:solidFill>
                <a:latin typeface="Ubuntu"/>
              </a:rPr>
              <a:t>launch site as an example site, we can understand more about the placement of launch sites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78C66-722E-2985-EF2B-65EC68DE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253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7EAFFF-FCA8-5419-9062-D0F93464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7</a:t>
            </a:fld>
            <a:endParaRPr lang="en-I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5B4944-965F-1101-86F3-77B2B54549AD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5"/>
              </a:rPr>
              <a:t> </a:t>
            </a:r>
            <a:r>
              <a:rPr lang="en-US" dirty="0" err="1">
                <a:hlinkClick r:id="rId5"/>
              </a:rPr>
              <a:t>Github</a:t>
            </a:r>
            <a:r>
              <a:rPr lang="en-US" dirty="0">
                <a:hlinkClick r:id="rId5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5085607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FC614-F401-F991-A154-E266C5D4403A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interactive dashboard 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Plotly Dash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2E2490-E9C4-60FD-9654-F7056DC02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8CE0A-5A87-8834-BD72-F09FB3764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8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6D285D-15D7-5A21-5BDC-C85550A0CA7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126065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115258-7B89-D781-974B-C46E3BD581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DE12DF1-51DE-DF76-AAC9-8B8D84B51B1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uccess count for all sit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F5D9310-BB1D-B5F5-1897-B8A21310722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had the most successful launches, with 41.7% of the total successful launches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D041BC-D3EA-6BA3-9565-56F394F2D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F2587B-BE6C-C985-6D61-21AB11C96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39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56FB0-86C9-E234-374C-6425080F158F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754450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ADDD9A47-9D6E-A618-88C6-45181E4240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Title 12">
            <a:extLst>
              <a:ext uri="{FF2B5EF4-FFF2-40B4-BE49-F238E27FC236}">
                <a16:creationId xmlns:a16="http://schemas.microsoft.com/office/drawing/2014/main" id="{E4972055-8A10-C23D-A81F-3133771B9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5979219" cy="716711"/>
          </a:xfrm>
        </p:spPr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0970108-A75B-68F0-4651-FE5520063DB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6195243" cy="4951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b="1" i="0" kern="120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b="0" dirty="0">
              <a:solidFill>
                <a:srgbClr val="FFFFFF"/>
              </a:solidFill>
              <a:effectLst/>
              <a:latin typeface="Ubuntu"/>
            </a:endParaRP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b="0" dirty="0">
                <a:solidFill>
                  <a:srgbClr val="FFFFFF"/>
                </a:solidFill>
                <a:effectLst/>
                <a:latin typeface="Ubuntu"/>
              </a:rPr>
              <a:t>SpaceX launches Falcon 9 rockets at a cost of around $62m. This is considerably cheaper than other providers (which usually cost upwards of $165m), and much of the savings are because SpaceX can land, and then re-use the first stage of the rocket.</a:t>
            </a: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b="0" dirty="0">
              <a:solidFill>
                <a:srgbClr val="FFFFFF"/>
              </a:solidFill>
              <a:effectLst/>
              <a:latin typeface="Ubuntu"/>
            </a:endParaRP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b="0" dirty="0">
                <a:solidFill>
                  <a:srgbClr val="FFFFFF"/>
                </a:solidFill>
                <a:effectLst/>
                <a:latin typeface="Ubuntu"/>
              </a:rPr>
              <a:t>If we can make predictions on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b="0" dirty="0">
              <a:solidFill>
                <a:srgbClr val="FFFFFF"/>
              </a:solidFill>
              <a:effectLst/>
              <a:latin typeface="Ubuntu"/>
            </a:endParaRP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800" b="0" dirty="0">
                <a:solidFill>
                  <a:srgbClr val="FFFFFF"/>
                </a:solidFill>
                <a:effectLst/>
                <a:latin typeface="Ubuntu"/>
              </a:rPr>
              <a:t>This project will ultimately </a:t>
            </a:r>
            <a:r>
              <a:rPr lang="en-GB" sz="1800" b="0" dirty="0">
                <a:solidFill>
                  <a:srgbClr val="12ABDB"/>
                </a:solidFill>
                <a:effectLst/>
                <a:latin typeface="Ubuntu"/>
              </a:rPr>
              <a:t>predict if the Space X Falcon 9 first stage will land successfully.</a:t>
            </a:r>
          </a:p>
          <a:p>
            <a:pPr marL="342900" indent="-342900" algn="l" defTabSz="9144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800" b="0" dirty="0">
              <a:solidFill>
                <a:srgbClr val="FFFFFF"/>
              </a:solidFill>
              <a:effectLst/>
              <a:latin typeface="Ubuntu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148C46-3DFE-4663-F964-4E34438D3414}"/>
              </a:ext>
            </a:extLst>
          </p:cNvPr>
          <p:cNvSpPr txBox="1">
            <a:spLocks/>
          </p:cNvSpPr>
          <p:nvPr/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5FB81E-24CD-6BF3-6126-4A2C345347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41957C-63C6-FC95-13F2-1D68C0699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1763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022A0D-67B1-C5E2-BA24-6320884E0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B8A1FE-6B96-FE61-0CDD-675358428A72}"/>
              </a:ext>
            </a:extLst>
          </p:cNvPr>
          <p:cNvSpPr txBox="1"/>
          <p:nvPr/>
        </p:nvSpPr>
        <p:spPr>
          <a:xfrm>
            <a:off x="10133046" y="475861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800532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8625B-51B8-9FC7-DB4B-44E4FAACC5CC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ie chart for the launch site with highest launch success ratio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E60D2B-41C0-E432-0F88-12E88C9F2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D4E285F-1C66-BAB1-7CC7-A267A21DF473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400"/>
                <a:r>
                  <a:rPr lang="en-GB" sz="800" dirty="0">
                    <a:solidFill>
                      <a:srgbClr val="FFFFFF"/>
                    </a:solidFill>
                    <a:latin typeface="Ubuntu"/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smtClean="0">
                        <a:solidFill>
                          <a:srgbClr val="FFFFFF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i="1" smtClean="0">
                        <a:solidFill>
                          <a:srgbClr val="FFFFFF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rgbClr val="FFFFFF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rgbClr val="FFFFFF"/>
                  </a:solidFill>
                  <a:latin typeface="Ubuntu"/>
                </a:endParaRP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D4E285F-1C66-BAB1-7CC7-A267A21DF4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3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5D93223-48F9-4021-6FBA-384D793172F7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The launch site </a:t>
            </a:r>
            <a:r>
              <a:rPr lang="en-GB" dirty="0">
                <a:solidFill>
                  <a:srgbClr val="12ABDB"/>
                </a:solidFill>
                <a:latin typeface="Ubuntu"/>
              </a:rPr>
              <a:t>KSC LC-39 A</a:t>
            </a:r>
            <a:r>
              <a:rPr lang="en-GB" dirty="0">
                <a:solidFill>
                  <a:srgbClr val="FFFFFF"/>
                </a:solidFill>
                <a:latin typeface="Ubuntu"/>
              </a:rPr>
              <a:t> also had the highest rate of successful launches, with a 76.9% success rate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3CC64-9B74-2ADA-AAE3-90AE16380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546123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E7B5D7-9CC4-BB9D-4DCC-796C879D8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0</a:t>
            </a:fld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E93BAF-BD5B-B739-6AE2-458E816390E7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34098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898D638-9BC4-26C8-7C44-76F5DA0004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D281ADF-1513-D707-CA59-82DA11F623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3C9273D-75B0-922E-86C1-E9DE3C390F74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Outcome VS. Payload scatter plot for all sit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AE1608E-761C-B090-71BC-2BDA0AE6756C}"/>
              </a:ext>
            </a:extLst>
          </p:cNvPr>
          <p:cNvSpPr txBox="1">
            <a:spLocks/>
          </p:cNvSpPr>
          <p:nvPr/>
        </p:nvSpPr>
        <p:spPr>
          <a:xfrm>
            <a:off x="404814" y="4367259"/>
            <a:ext cx="5968594" cy="20319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launch outcome vs. payload for all sites shows a gap around 4000 kg, so it makes sense to split the data into 2 ranges: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 – 4000 kg (low payloads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000 – 10000 kg (massive payload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rom these 2 plots, it can be shown that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is lower than that for low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is also worth noting that some booster types (v1.0 and B5) have not been launched with massive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0022C9-9F98-9263-6A1F-CC0A7C0D65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CE0BB-C078-6ACC-1A74-DBF8B2EBD839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noFill/>
          <a:ln w="19050" cap="flat" cmpd="sng" algn="ctr">
            <a:solidFill>
              <a:srgbClr val="12ABDB"/>
            </a:solidFill>
            <a:prstDash val="dash"/>
            <a:miter lim="800000"/>
          </a:ln>
          <a:effectLst/>
        </p:spPr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8DB61246-4903-47B3-F371-2BE57EA076B7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F50BE3A-7754-DA11-3C14-DCCEE60A761B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A8D1B5D-88A6-6803-DBB7-4D614E831E64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24723E9-80FB-A536-25A2-3C4C0D4FEB17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97CC34-552C-866C-5A4C-AE9D7814C136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GB" sz="1100" dirty="0">
                <a:solidFill>
                  <a:prstClr val="black"/>
                </a:solidFill>
                <a:latin typeface="Ubuntu"/>
              </a:rPr>
              <a:t>Low payloa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AD4860-7D27-9B69-35D9-79AB01A5DC18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GB" sz="1100" dirty="0">
                <a:solidFill>
                  <a:prstClr val="black"/>
                </a:solidFill>
                <a:latin typeface="Ubuntu"/>
              </a:rPr>
              <a:t>Massive payload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AD9394D-C4D6-4860-1B51-A6A002DD8255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400"/>
                <a:r>
                  <a:rPr lang="en-GB" sz="800" dirty="0">
                    <a:solidFill>
                      <a:srgbClr val="FFFFFF"/>
                    </a:solidFill>
                    <a:latin typeface="Ubuntu"/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i="1" smtClean="0">
                        <a:solidFill>
                          <a:srgbClr val="FFFFFF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rgbClr val="FFFFFF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i="1" smtClean="0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rgbClr val="FFFFFF"/>
                  </a:solidFill>
                  <a:latin typeface="Ubuntu"/>
                </a:endParaRPr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AD9394D-C4D6-4860-1B51-A6A002DD82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5"/>
                <a:stretch>
                  <a:fillRect t="-163333" r="-10945" b="-24000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E152FFD-CFE3-897F-CCDA-49014E5B3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4662" y="6496834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B759BA8-0A5E-593E-DE49-150E53F6C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1</a:t>
            </a:fld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B8089B-5266-DC55-8325-09CA9E59109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6"/>
              </a:rPr>
              <a:t> </a:t>
            </a:r>
            <a:r>
              <a:rPr lang="en-US" dirty="0" err="1">
                <a:hlinkClick r:id="rId6"/>
              </a:rPr>
              <a:t>Github</a:t>
            </a:r>
            <a:r>
              <a:rPr lang="en-US" dirty="0">
                <a:hlinkClick r:id="rId6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080397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5A6D2BF-35B4-11AC-EEA3-EF5B031C5F7A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PREDICTIVE ANALYSIS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CLASSIFICATION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E5F25A-5832-EB1D-6CEE-5BC100668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E52E4C-CAB0-80F6-965E-AFAF3DD48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2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0941C5-5F00-B10B-6731-7D8CA16BDF8E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493241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1F8D6-0452-28D7-28BA-AE466CE98543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LASSIFICATION ACCURACY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265D65-1454-2687-7EB2-904C72C5EE51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6191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Accuracy Score and Best Score for each classification algorithm produces the following resul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 has the highest classification accuracy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Accuracy Score is 94.44%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est Score is 90.36%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76F7D8-E497-AE0C-8E7E-976A7E58F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681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6C913377-6065-2C68-A9DE-EF23A47226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043D9366-C7AD-624D-E173-46C9FC04A2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2D5FCD-81AB-FC1B-ADAE-AB474000E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BA8678-6308-4FF3-BC20-D5A1A1161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3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CCD9B1-0527-6B6B-BDB0-92037509903B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5"/>
              </a:rPr>
              <a:t> </a:t>
            </a:r>
            <a:r>
              <a:rPr lang="en-US" dirty="0" err="1">
                <a:hlinkClick r:id="rId5"/>
              </a:rPr>
              <a:t>Github</a:t>
            </a:r>
            <a:r>
              <a:rPr lang="en-US" dirty="0">
                <a:hlinkClick r:id="rId5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969012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59E10-B53F-E1D8-92EB-C6114C75DAC4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onfusion Matrix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F49302-69A3-1D30-D414-ED4A5F458C6A}"/>
              </a:ext>
            </a:extLst>
          </p:cNvPr>
          <p:cNvSpPr txBox="1">
            <a:spLocks/>
          </p:cNvSpPr>
          <p:nvPr/>
        </p:nvSpPr>
        <p:spPr>
          <a:xfrm>
            <a:off x="6528048" y="1447800"/>
            <a:ext cx="5282952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shown previously, best performing classification model is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, with an accuracy of 94.44%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is explained by the confusion matrix, which shows only 1 out of 18 total results classified incorrectly (a false positive, shown in the top-right corner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ther 17 results are correctly classified (5 did not land, 12 did land)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6F896123-BA0F-C17C-73B7-CE127946B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4861E-A5E0-FEDA-133B-735E48001E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EB8AD-A2C7-E9F2-9776-ECD587C3C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4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A952B2-D1F7-4519-4FD5-0837145686A5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ithub</a:t>
            </a:r>
            <a:r>
              <a:rPr lang="en-US" dirty="0">
                <a:hlinkClick r:id="rId3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61110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A1B4C-38FE-CB8F-790C-556FD2036D8D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CONCLUSIONS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3700A9-B605-F3DF-BE18-5B2DD03A9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D46D3-CBDA-58C3-0875-8EE3929A3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5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B46A8F-CB0C-E964-428A-F65BFAFDDB71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38238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F5AFE6-7714-6397-E5C0-669E83EA6BD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ONCLUSION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109BC-0C1D-E4F7-1F37-97356CD5881C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806624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tween 2010 and 2013, all landings were unsuccessful (as the success rate is 0)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3, the success rate generally increased, despite small dips in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018 and 2020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6, there was always a greater than 50% chance of succes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bit types ES-L1, GEO, HEO, and SSO, have the highest (100%) success rate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types PO, ISS, and LEO, have more success with heavy payloads: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had the most successful launches, with 41.7% of the total successful launches, and also the highest rate of successful launches, with a 76.9% success rat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(over 4000kg) is lower than that for low payload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est performing classification model is the Decision Tree model, with an accuracy of 94.44%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17D10A67-71F7-C287-5E4B-4EA14FCDAA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2967797-FC69-99E7-F831-2828DFB85FFD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647A9326-8D6D-AD29-00BB-7250CBDD4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53DD47-FF2F-7BAC-C35F-FEAD2BFF2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5118076-AF2A-9D60-C0FA-DE3D3A1AE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143EA12-0AF8-BF91-315B-B4AAF832AC1F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10" name="Picture 9" descr="Chart, bar chart&#10;&#10;Description automatically generated">
              <a:extLst>
                <a:ext uri="{FF2B5EF4-FFF2-40B4-BE49-F238E27FC236}">
                  <a16:creationId xmlns:a16="http://schemas.microsoft.com/office/drawing/2014/main" id="{ED604A94-6AF7-AFAA-5418-75CA8EB9C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11" name="Picture 10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A5CF5690-56F4-2313-BBA8-A87E74786B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1D1B9E1-997D-FD31-5AA4-630B6C5D1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2875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A553073-6DD0-CC5D-AD3C-140C63831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6</a:t>
            </a:fld>
            <a:endParaRPr lang="en-IN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4F15D7-FC74-0F3B-248E-1B6EA577A2A3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8"/>
              </a:rPr>
              <a:t> </a:t>
            </a:r>
            <a:r>
              <a:rPr lang="en-US" dirty="0" err="1">
                <a:hlinkClick r:id="rId8"/>
              </a:rPr>
              <a:t>Github</a:t>
            </a:r>
            <a:r>
              <a:rPr lang="en-US" dirty="0">
                <a:hlinkClick r:id="rId8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397084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16871-4ABC-2037-D6EF-1B516F3B35E5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APPENDIX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63811E-9F3A-3752-A47B-602ED0549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3790BC-7471-162D-074A-8A27CAA03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7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A75156-6BDF-6F95-3BC7-F4B9AD5C87A8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276911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C0475-9A66-F1CD-F3DF-7C6FA6F2332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pace x REST api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D1BAB5-041A-87E5-4233-34510904C1C8}"/>
              </a:ext>
            </a:extLst>
          </p:cNvPr>
          <p:cNvSpPr txBox="1"/>
          <p:nvPr/>
        </p:nvSpPr>
        <p:spPr>
          <a:xfrm>
            <a:off x="154062" y="1106742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functions to retrieve the required information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logic to clean th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48B05DB-5080-0F0A-7E77-6C132E1F9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775" y="475634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0FC3E6-0240-0C9E-8735-6318E71F1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41" y="4038950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4C1C0F3-DD75-4C58-F881-2BA9768BA8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813" y="1875614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6281E51-F1F7-0E41-D591-4D92A027D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AB7AB6-E13C-0E89-0BC0-225FB7D40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8</a:t>
            </a:fld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40E80-D54A-2F29-AFB2-D48BB154EBAE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5"/>
              </a:rPr>
              <a:t> </a:t>
            </a:r>
            <a:r>
              <a:rPr lang="en-US" dirty="0" err="1">
                <a:hlinkClick r:id="rId5"/>
              </a:rPr>
              <a:t>Github</a:t>
            </a:r>
            <a:r>
              <a:rPr lang="en-US" dirty="0">
                <a:hlinkClick r:id="rId5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344756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F361B-E2AD-F17E-3471-8322621B7F6E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WEB SCRAPING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70E180-6B6B-8F72-3DFB-257A99ECD5D8}"/>
              </a:ext>
            </a:extLst>
          </p:cNvPr>
          <p:cNvSpPr txBox="1"/>
          <p:nvPr/>
        </p:nvSpPr>
        <p:spPr>
          <a:xfrm>
            <a:off x="154063" y="1106742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functions for web scraping</a:t>
            </a:r>
            <a:endParaRPr lang="en-US" sz="1600" dirty="0">
              <a:solidFill>
                <a:srgbClr val="FFFFFF"/>
              </a:solidFill>
              <a:latin typeface="Ubuntu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Ubuntu"/>
              </a:rPr>
              <a:t>Custom logic to fill up the launch_dict values with values from the launch tables</a:t>
            </a:r>
            <a:endParaRPr lang="en-GB" sz="1600" dirty="0">
              <a:solidFill>
                <a:srgbClr val="FFFFFF"/>
              </a:solidFill>
              <a:latin typeface="Ubuntu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58DDC65-DC21-3FC0-11D4-13760A4FCEE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339754" y="126707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94188FD0-4421-7B43-8776-3CB3E43487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852247" y="1412776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30B63E-44CC-AA7B-0407-3DD8FF09A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347" y="6463411"/>
            <a:ext cx="7543800" cy="365125"/>
          </a:xfrm>
        </p:spPr>
        <p:txBody>
          <a:bodyPr/>
          <a:lstStyle/>
          <a:p>
            <a:r>
              <a:rPr lang="en-IN"/>
              <a:t>Applied Data Science Capstone | 2023 | Mohammed Sari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E98A7F-A90D-3D8A-E493-757C2A0D7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49</a:t>
            </a:fld>
            <a:endParaRPr lang="en-IN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8E8380-7D00-4316-C265-D3CD87423356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 </a:t>
            </a:r>
            <a:r>
              <a:rPr lang="en-US" dirty="0" err="1">
                <a:hlinkClick r:id="rId4"/>
              </a:rPr>
              <a:t>Github</a:t>
            </a:r>
            <a:r>
              <a:rPr lang="en-US" dirty="0">
                <a:hlinkClick r:id="rId4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219563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8F37612B-9211-0841-4848-E3A35D994D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pPr defTabSz="914400"/>
            <a:endParaRPr dirty="0">
              <a:solidFill>
                <a:prstClr val="black"/>
              </a:solidFill>
              <a:latin typeface="Ubuntu"/>
            </a:endParaRPr>
          </a:p>
        </p:txBody>
      </p:sp>
      <p:sp>
        <p:nvSpPr>
          <p:cNvPr id="11" name="Title 12">
            <a:extLst>
              <a:ext uri="{FF2B5EF4-FFF2-40B4-BE49-F238E27FC236}">
                <a16:creationId xmlns:a16="http://schemas.microsoft.com/office/drawing/2014/main" id="{22FE624B-3F89-4726-B0E9-4680B9F78948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METHODOLOGY SUMMARY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6A493DE-953D-0276-01E4-E111AFE83507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numCol="2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Collec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king GET requests to the SpaceX REST API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Web Scraping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Wrangling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illn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method to remov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a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valu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lue_coun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method to determine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of launches on each site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each orbit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mission outcome per orbit typ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ing a landing outcome label that shows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 when the booster did not land successfully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 when the booster did land successful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SQL queries to manipulate and evaluate the SpaceX dataset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Pandas and Matplotlib to visualize relationships between variables, and determine patter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Visual Analytic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spatial analytics using Folium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ing an interactive dashboard using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ash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Modelling and Evalua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Scikit-Learn to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-process (standardize) the data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plit the data into training and testing data using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ain_test_spli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rain different classification models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hyperparameters using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idSearchCV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confusion matrices for each classification mode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sessing the accuracy of each classification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A48D404-46F8-03B3-EED8-D5350231E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6797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08FD2-45DE-0665-6778-0FAA9DE11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5</a:t>
            </a:fld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55F02E-4F76-894C-91A6-05E62C96654A}"/>
              </a:ext>
            </a:extLst>
          </p:cNvPr>
          <p:cNvSpPr txBox="1"/>
          <p:nvPr/>
        </p:nvSpPr>
        <p:spPr>
          <a:xfrm>
            <a:off x="10133046" y="475861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 </a:t>
            </a:r>
            <a:r>
              <a:rPr lang="en-US" dirty="0" err="1">
                <a:hlinkClick r:id="rId2"/>
              </a:rPr>
              <a:t>Github</a:t>
            </a:r>
            <a:r>
              <a:rPr lang="en-US" dirty="0">
                <a:hlinkClick r:id="rId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11766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>
            <a:extLst>
              <a:ext uri="{FF2B5EF4-FFF2-40B4-BE49-F238E27FC236}">
                <a16:creationId xmlns:a16="http://schemas.microsoft.com/office/drawing/2014/main" id="{07F31834-CA7E-3C21-BF88-3A992CBE2464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pace x REST api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C6D0E1F-5CFA-0B1C-B718-BD6F42F73A2D}"/>
              </a:ext>
            </a:extLst>
          </p:cNvPr>
          <p:cNvSpPr txBox="1"/>
          <p:nvPr/>
        </p:nvSpPr>
        <p:spPr>
          <a:xfrm>
            <a:off x="154062" y="1052736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600" dirty="0">
                <a:solidFill>
                  <a:srgbClr val="FFFFFF"/>
                </a:solidFill>
                <a:latin typeface="Ubuntu"/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rgbClr val="FFFFFF"/>
              </a:solidFill>
              <a:latin typeface="Ubuntu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415D3-EAFB-3C04-E6D6-A91711FA4D00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6253952-6B6E-B754-C8F5-9ED34B27822A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D9445080-0F17-5593-EE27-310FEEA0155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B67975C2-89EC-C0A2-D633-BC54E11C33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D4B0C61A-E125-2365-D833-2574F191C69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DB1C5D36-E234-BAEE-83E8-CB324AD3CFA7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BBC90DC-D1BB-5F26-54A5-3857402847A4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2C8EF57-5BB4-FD95-FEB9-E79847E0694C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7482047E-56A9-89E4-819A-F80A195B14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1EB5AE12-F6FD-14A6-DB7E-BD3970BCDBDE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61" name="Picture 60">
                  <a:extLst>
                    <a:ext uri="{FF2B5EF4-FFF2-40B4-BE49-F238E27FC236}">
                      <a16:creationId xmlns:a16="http://schemas.microsoft.com/office/drawing/2014/main" id="{EC98C1E2-2B78-6093-F354-C420E64389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62" name="Picture 61">
                  <a:extLst>
                    <a:ext uri="{FF2B5EF4-FFF2-40B4-BE49-F238E27FC236}">
                      <a16:creationId xmlns:a16="http://schemas.microsoft.com/office/drawing/2014/main" id="{EB79CDE5-DE44-3E31-3345-146F5EBEE3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FAA48E12-B603-0D8E-3C47-9E5D794DF5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F351F5D-C483-BE6A-8D3E-475EE59BB662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E608033-0DD1-E8E3-8144-98A88CE26FE0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F9AB4AA0-573B-7AFF-F4E9-8CE2D06E0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FCFAB2C2-0D81-E3E2-7F82-BE40F451123D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5896A2C-B7A4-7CA0-13F0-A39959B0651A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5530F58-42AF-431F-4F9B-891503A368FD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8503E3C2-791B-D06C-C607-F353A1F767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577754B9-0A26-253C-BD11-648BDAD317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167C679B-6C8C-0FB1-093B-429A9CD555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05070A50-88F8-E7C0-BFBA-A7B7AAA2EA2F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72" name="Oval 71">
            <a:extLst>
              <a:ext uri="{FF2B5EF4-FFF2-40B4-BE49-F238E27FC236}">
                <a16:creationId xmlns:a16="http://schemas.microsoft.com/office/drawing/2014/main" id="{3325A8A3-5B95-2527-3E7C-B6D02E90D51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9038070-9331-B9E4-6F8E-74CF9FBDA294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61D780B1-9168-D88A-431D-F34E953D6212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723F210-23D7-6984-9A5F-430ABC2FBA13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B5516BB-5F77-6781-12C6-2A92CE38DFBD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DC35D3C-8857-6FE3-2A47-93FB4FCF84D0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87" name="Rectangle: Rounded Corners 86">
                <a:extLst>
                  <a:ext uri="{FF2B5EF4-FFF2-40B4-BE49-F238E27FC236}">
                    <a16:creationId xmlns:a16="http://schemas.microsoft.com/office/drawing/2014/main" id="{6B32CAB6-4644-8CC6-26E3-DCB8C3E37190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rgbClr val="FFFFFF">
                  <a:lumMod val="8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72000" tIns="0" rIns="0" bIns="0" rtlCol="0" anchor="ctr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Make a GET response to the SpaceX REST API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Convert the response to a .json file then to a Pandas DataFrame</a:t>
                </a: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77B5AE27-BE18-895F-D08A-901399F684D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rgbClr val="0070A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1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2D75C74-A1BE-403B-EEE8-31AE905BE4CD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85" name="Rectangle: Rounded Corners 84">
                <a:extLst>
                  <a:ext uri="{FF2B5EF4-FFF2-40B4-BE49-F238E27FC236}">
                    <a16:creationId xmlns:a16="http://schemas.microsoft.com/office/drawing/2014/main" id="{F2FD1E98-2DB4-0DAD-BEE1-7E0BD3D460FE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rgbClr val="FFFFFF">
                  <a:lumMod val="8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72000" tIns="0" rIns="0" bIns="0" rtlCol="0" anchor="ctr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Use custom logic to clean the data 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AD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(see Appendix)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Define lists for data to be stored in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Call custom functions 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AD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(see Appendix) </a:t>
                </a: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to retrieve data and fill the lists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58558D72-BF9D-6CDA-CE58-48DEEF0D3ED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rgbClr val="0070A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5FD771E8-3CD9-C8D1-57DB-ACC39F81FF23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83" name="Rectangle: Rounded Corners 82">
                <a:extLst>
                  <a:ext uri="{FF2B5EF4-FFF2-40B4-BE49-F238E27FC236}">
                    <a16:creationId xmlns:a16="http://schemas.microsoft.com/office/drawing/2014/main" id="{975B862C-6F60-63AE-9504-B714A59B09F0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rgbClr val="FFFFFF">
                  <a:lumMod val="8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72000" tIns="0" rIns="0" bIns="0" rtlCol="0" anchor="ctr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Create a Pandas DataFrame from the constructed dictionary dataset</a:t>
                </a: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27759CF-D3C9-CFA2-3057-450E137AC0B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rgbClr val="0070A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3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D0618E8-5CDB-0232-9DA1-568CDBC18C2F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BA70A2AB-36C7-8AF4-339D-1EAF9704D333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rgbClr val="FFFFFF">
                  <a:lumMod val="8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72000" tIns="0" rIns="0" bIns="0" rtlCol="0" anchor="ctr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Filter the DataFrame to only include Falcon 9 launches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Reset the FlightNumber column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683E737C-F1A7-D520-3042-4F3ACBE03216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rgbClr val="0070A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rPr>
                  <a:t>4</a:t>
                </a:r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022686F-EB0B-E458-45A3-373F91B77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99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FF048C-F862-189F-C629-EA98F58D7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6</a:t>
            </a:fld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02C926-220D-E157-2824-E42AEB4EE33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12"/>
              </a:rPr>
              <a:t> </a:t>
            </a:r>
            <a:r>
              <a:rPr lang="en-US" dirty="0" err="1">
                <a:hlinkClick r:id="rId12"/>
              </a:rPr>
              <a:t>Github</a:t>
            </a:r>
            <a:r>
              <a:rPr lang="en-US" dirty="0">
                <a:hlinkClick r:id="rId12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824283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5B7C2BB2-3E27-24C6-B6C0-B4FAB54D7C16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 cap="flat" cmpd="sng" algn="ctr">
            <a:solidFill>
              <a:srgbClr val="0070A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133A6525-B9AF-6D42-DDB4-BA38EC3B5034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WEB SCRAPING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DAAFE0B-DFF3-7946-7B63-5BFD18AD1519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600" dirty="0">
                <a:solidFill>
                  <a:srgbClr val="FFFFFF"/>
                </a:solidFill>
                <a:latin typeface="Ubuntu"/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rgbClr val="FFFFFF"/>
              </a:solidFill>
              <a:latin typeface="Ubuntu"/>
            </a:endParaRP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DC7C93A1-04F2-37FD-8FD4-F520D4498C4F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695C11E8-FE2E-EEE6-72EF-D281D95E1D1B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24" name="Picture 123">
                <a:extLst>
                  <a:ext uri="{FF2B5EF4-FFF2-40B4-BE49-F238E27FC236}">
                    <a16:creationId xmlns:a16="http://schemas.microsoft.com/office/drawing/2014/main" id="{BAE1C158-F3CA-1A90-7D62-DD87AC14F5A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D2E54EAD-FE69-AE05-6BB9-03EC374C18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378FF6E2-8631-7012-9A13-0CE83F2862D9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BC320E07-C55B-1C69-F882-D23EA6F4B374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5898CECA-A701-E49D-3F87-9B9BB0BBA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54257BE0-43A9-6CD0-E21C-BDBA11A89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29" name="Oval 128">
            <a:extLst>
              <a:ext uri="{FF2B5EF4-FFF2-40B4-BE49-F238E27FC236}">
                <a16:creationId xmlns:a16="http://schemas.microsoft.com/office/drawing/2014/main" id="{C89569F1-6EA4-3588-CF46-4FD2C9E5941C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2A8A5AB8-99DB-4CAD-037B-AAA2070C7F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1" name="Oval 130">
            <a:extLst>
              <a:ext uri="{FF2B5EF4-FFF2-40B4-BE49-F238E27FC236}">
                <a16:creationId xmlns:a16="http://schemas.microsoft.com/office/drawing/2014/main" id="{C80C269F-517E-EAE9-A80A-C146A0FC9CCD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6D816C2E-DD2B-2EF2-C1D9-9430AC28FA9C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AFD5F682-0715-83F9-BC6F-5652C0498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rgbClr val="0070AD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864296FD-0969-0320-E56C-3154673E8189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97BBCA9-8526-1075-ED37-54036B01EC4C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DB6BF238-D69E-DE02-5C90-FC22826F0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4D26DE11-B13A-32CC-4E37-F8D13EAEA18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488F6041-5ABC-E6A4-3643-8C6E9B611F0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7B3E767-2E9B-0E2A-12E6-6A9FC5F6B003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A6B52903-B423-6C6A-6BD0-691329E2D215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rgbClr val="FFFFFF">
                <a:lumMod val="85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72000" tIns="0" rIns="0" bIns="0"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Request the HTML page from the static URL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ssign the response to an object</a:t>
              </a: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D3D69E6E-AD42-FC00-8891-7842A721F2B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B22A2C16-2F03-9BEE-DA9D-7DA1178E2BF4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226F872D-F259-6615-5909-61995B86EB31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rgbClr val="FFFFFF">
                <a:lumMod val="85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72000" tIns="0" rIns="0" bIns="0"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reate a BeautifulSoup object from the HTML response object 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Find all tables within the HTML page</a:t>
              </a: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25984D60-3746-4CA1-57A7-A83D06CF4ACE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84E2819-E074-5870-26D6-FD2EAE657987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EA258280-EF36-2B2C-C8B9-2302119D9FAB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rgbClr val="FFFFFF">
                <a:lumMod val="85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72000" tIns="0" rIns="0" bIns="0"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Use the column names as keys in a dictionar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Use custom functions and logic to parse all launch tables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AD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(see Appendix)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to fill the dictionary values</a:t>
              </a: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CAC16312-F18D-F6F3-3CB1-5D08BF52A88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22CB2D0-429D-9355-128C-9ADC5E809C34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099C3B55-22EB-3F05-A5B7-1801A8C2A41E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rgbClr val="FFFFFF">
                <a:lumMod val="85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72000" tIns="0" rIns="0" bIns="0"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nvert the dictionary to a Pandas DataFrame ready for export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68C891A-C5BE-1312-CF6F-4FA6DB5C9352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F490113B-06C8-382C-1C96-622C2A1F2569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82B0FD43-570C-AA3A-5CD5-A7A7B8B29D49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rgbClr val="FFFFFF">
                <a:lumMod val="85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lIns="72000" tIns="0" rIns="0" bIns="0"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llect all column header names from the tables found within the HTML page</a:t>
              </a: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D20AD4F-02AB-82E9-C345-33610211A108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rgbClr val="0070A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89B0A2CF-514A-8D26-5FFD-485E894E11AE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 cap="flat" cmpd="sng" algn="ctr">
            <a:solidFill>
              <a:srgbClr val="0070A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3E1C4B-3740-700A-1B67-07773449C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77617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B71DD-8B61-72BA-2D0B-236E7F4B4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7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AD5651-603F-90F0-8221-26DBF1436D0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9"/>
              </a:rPr>
              <a:t> </a:t>
            </a:r>
            <a:r>
              <a:rPr lang="en-US" dirty="0" err="1">
                <a:hlinkClick r:id="rId9"/>
              </a:rPr>
              <a:t>Github</a:t>
            </a:r>
            <a:r>
              <a:rPr lang="en-US" dirty="0">
                <a:hlinkClick r:id="rId9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26672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2BFF087-B726-0BE2-F9AD-B1202174FCF5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MANIPULATION/WRANGLING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ANDAS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A28A72C-C09C-21E5-B51C-C8E5A5C5A883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6339259" cy="1765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tex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paceX dataset contains several Space X  launch facilities, and each location is in th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Sit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ach launch aims to a dedicated orbit, and some of the common orbit types are shown in the figure below. The orbit type is in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rbi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itial Data Exploration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lue_coun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method to determine the following: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of launches on each sit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each orbit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landing outcome per orbit typ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177D429-7014-DB25-154C-ED79BAD4AA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551384" y="2852936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8EBD72F-B5F4-0F87-D9ED-B003AE968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99CA75-4E77-9AAA-0238-1D5DBD3D63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1209EF3-62FE-19EA-4EF3-CAA90C53E7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BE20BE29-E6ED-49E7-A06B-7DCC8AF3D3A3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554E858-7A77-3ADB-36AE-D378D38D0DCF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165F346-969A-E508-CB45-A24263D45BD7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289739-18E7-8FD7-3230-6CD4FD6DC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6797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285930-B780-8D3A-ED94-013EE1383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8</a:t>
            </a:fld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779C52-A6E8-6F2E-3838-A43311A866DA}"/>
              </a:ext>
            </a:extLst>
          </p:cNvPr>
          <p:cNvSpPr txBox="1"/>
          <p:nvPr/>
        </p:nvSpPr>
        <p:spPr>
          <a:xfrm>
            <a:off x="10642112" y="83177"/>
            <a:ext cx="1654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6"/>
              </a:rPr>
              <a:t> </a:t>
            </a:r>
            <a:r>
              <a:rPr lang="en-US" dirty="0" err="1">
                <a:hlinkClick r:id="rId6"/>
              </a:rPr>
              <a:t>Github</a:t>
            </a:r>
            <a:r>
              <a:rPr lang="en-US" dirty="0">
                <a:hlinkClick r:id="rId6"/>
              </a:rPr>
              <a:t> Lin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773945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47A1153-56C0-78C5-F37F-7E1D1255B3CF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MANIPULATION/WRANGLING – </a:t>
            </a:r>
            <a:r>
              <a:rPr kumimoji="0" lang="en-IN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ANDAS</a:t>
            </a:r>
            <a:endParaRPr kumimoji="0" lang="en-IN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14D5D5-F373-A201-D1BC-830A490F2675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74193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tex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nding outcome is shown in the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utcome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: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ue Ocean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 the mission outcome was successfully  landed to a specific region of the ocean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alse Ocean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the mission outcome was unsuccessfully landed to a specific region of the ocean.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ue RTL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 the mission outcome was successfully  landed to a ground pad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alse RTL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the mission outcome was unsuccessfully landed to a ground pad.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ue ASD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the mission outcome was successfully  landed to a drone ship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alse ASD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– the mission outcome was unsuccessfully landed to a drone ship.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None ASD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None Non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– these represent a failure to land.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Wrangling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determine whether a booster will successfully land, it is best to have a binary column, i.e., where the value is 1 or 0, representing the success of the landing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is done by: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fining a set of unsuccessful (bad) outcomes,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ad_outcome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ing a list,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nding_clas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where the element is 0 if the corresponding  row  in 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utcom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s in the set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ad_outcom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otherwise, it’s 1. 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e a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las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 that  contains the values from the list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nding_class 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ort the DataFrame as a .csv file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4D7CAE-2345-8468-694A-A8972E01BE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6F217D-B7D6-FCF1-40C0-A17CD81A2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456382-02A4-2C16-F4ED-F4FE2BBC2E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D4B9FB4-04E5-90EB-6253-FEF5FE5981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E9E25B20-7B08-A490-73EB-C51DC4D797DE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B99DC5F-344B-929B-2B24-D2EABCB1D4FA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54425A0-0ADF-7AF6-C58B-936C07143994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D7148A4-5CB8-4F39-05A3-BF4F31006C7D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E5F8B5-0DE1-FBBD-0187-94D4C0B2B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97250"/>
            <a:ext cx="7543800" cy="365125"/>
          </a:xfrm>
        </p:spPr>
        <p:txBody>
          <a:bodyPr/>
          <a:lstStyle/>
          <a:p>
            <a:r>
              <a:rPr lang="en-IN" dirty="0"/>
              <a:t>Applied Data Science Capstone | 2023 | Mohammed Sa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8A82D0-E46F-7D20-0321-72315CB85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96728-6B24-4E0E-8410-27A2EB582B59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8658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DD1DAD52-B525-46B5-8E87-60EE23581B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sh</Template>
  <TotalTime>36</TotalTime>
  <Words>4372</Words>
  <Application>Microsoft Office PowerPoint</Application>
  <PresentationFormat>Widescreen</PresentationFormat>
  <Paragraphs>633</Paragraphs>
  <Slides>4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8" baseType="lpstr">
      <vt:lpstr>Arial</vt:lpstr>
      <vt:lpstr>Calibri</vt:lpstr>
      <vt:lpstr>Cambria Math</vt:lpstr>
      <vt:lpstr>Century Gothic</vt:lpstr>
      <vt:lpstr>Consolas</vt:lpstr>
      <vt:lpstr>Ubuntu</vt:lpstr>
      <vt:lpstr>Ubuntu Medium</vt:lpstr>
      <vt:lpstr>Wingdings</vt:lpstr>
      <vt:lpstr>Mesh</vt:lpstr>
      <vt:lpstr>IBM Data Science Capstone Project</vt:lpstr>
      <vt:lpstr>OUTLINE</vt:lpstr>
      <vt:lpstr>EXECUTIVE SUMMARY</vt:lpstr>
      <vt:lpstr>METHODOLOGY SUMM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Data Science Capstone Project</dc:title>
  <dc:creator>Mohammed Sarim</dc:creator>
  <cp:lastModifiedBy>Mohammed Sarim</cp:lastModifiedBy>
  <cp:revision>49</cp:revision>
  <dcterms:created xsi:type="dcterms:W3CDTF">2023-08-28T18:26:44Z</dcterms:created>
  <dcterms:modified xsi:type="dcterms:W3CDTF">2023-08-28T19:03:59Z</dcterms:modified>
</cp:coreProperties>
</file>